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4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ParentxSegment" id="{E4F70867-57B9-4B78-BB78-7C780E76478A}">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notesMaster" Target="notesMasters/notesMaster1.xml"/><Relationship Id="rId42" Type="http://schemas.openxmlformats.org/officeDocument/2006/relationships/presProps" Target="presProps.xml"/><Relationship Id="rId43" Type="http://schemas.openxmlformats.org/officeDocument/2006/relationships/viewProps" Target="viewProps.xml"/><Relationship Id="rId44" Type="http://schemas.openxmlformats.org/officeDocument/2006/relationships/theme" Target="theme/theme1.xml"/><Relationship Id="rId45" Type="http://schemas.openxmlformats.org/officeDocument/2006/relationships/tableStyles" Target="tableStyles.xml"/><Relationship Id="rId46" Type="http://schemas.microsoft.com/office/2015/10/relationships/revisionInfo" Target="revisionInfo.xml"/><Relationship Id="rId4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008102205866299</c:v>
                </c:pt>
                <c:pt idx="3">
                  <c:v>0.996991700099404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851935110861443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65257939843373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139627075784001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9103358420490962</c:v>
                </c:pt>
                <c:pt idx="3">
                  <c:v>0.20444002040620599</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79892972142464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5143399612141967</c:v>
                </c:pt>
                <c:pt idx="3">
                  <c:v>0.157099162183104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2672734024057402</c:v>
                </c:pt>
                <c:pt idx="3">
                  <c:v>0.97732587703119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9789311993362903</c:v>
                </c:pt>
                <c:pt idx="3">
                  <c:v>0.1803130871044878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424675803263293</c:v>
                </c:pt>
                <c:pt idx="3">
                  <c:v>0.975751756596998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65541159968612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5143399612141967</c:v>
                </c:pt>
                <c:pt idx="3">
                  <c:v>0.1570991621831049</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5143399612141967</c:v>
                </c:pt>
                <c:pt idx="3">
                  <c:v>0.157099162183104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5143399612141967</c:v>
                </c:pt>
                <c:pt idx="3">
                  <c:v>0.157099162183104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2672734024057402</c:v>
                </c:pt>
                <c:pt idx="3">
                  <c:v>0.97732587703119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008102205866299</c:v>
                </c:pt>
                <c:pt idx="3">
                  <c:v>0.996991700099404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2672734024057402</c:v>
                </c:pt>
                <c:pt idx="3">
                  <c:v>0.97732587703119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1600306545873434</c:v>
                </c:pt>
                <c:pt idx="3">
                  <c:v>0.996839761665831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008102205866299</c:v>
                </c:pt>
                <c:pt idx="3">
                  <c:v>0.996991700099404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1600306545873434</c:v>
                </c:pt>
                <c:pt idx="3">
                  <c:v>0.996839761665831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219713175577791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22373913660660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505562089403446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719046783159294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1810994552510531</c:v>
                </c:pt>
                <c:pt idx="3">
                  <c:v>0.2374553813822643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693532988493627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9789311993362903</c:v>
                </c:pt>
                <c:pt idx="3">
                  <c:v>0.1803130871044878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008102205866299</c:v>
                </c:pt>
                <c:pt idx="3">
                  <c:v>0.996991700099404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1600306545873434</c:v>
                </c:pt>
                <c:pt idx="3">
                  <c:v>0.996839761665831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719046783159294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9789311993362903</c:v>
                </c:pt>
                <c:pt idx="3">
                  <c:v>0.1803130871044878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9789311993362903</c:v>
                </c:pt>
                <c:pt idx="3">
                  <c:v>0.1803130871044878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9789311993362903</c:v>
                </c:pt>
                <c:pt idx="3">
                  <c:v>0.1803130871044878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008102205866299</c:v>
                </c:pt>
                <c:pt idx="3">
                  <c:v>0.996991700099404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008102205866299</c:v>
                </c:pt>
                <c:pt idx="3">
                  <c:v>0.996991700099404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9789311993362903</c:v>
                </c:pt>
                <c:pt idx="3">
                  <c:v>0.1803130871044878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263637062538603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4037195032736752</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2943089667463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535655711996827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1600306545873434</c:v>
                </c:pt>
                <c:pt idx="3">
                  <c:v>0.996839761665831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602654517678662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771611223903557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43498394214885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9789311993362903</c:v>
                </c:pt>
                <c:pt idx="3">
                  <c:v>0.1803130871044878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771611223903557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771611223903557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771611223903557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9789311993362903</c:v>
                </c:pt>
                <c:pt idx="3">
                  <c:v>0.1803130871044878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2672734024057402</c:v>
                </c:pt>
                <c:pt idx="3">
                  <c:v>0.97732587703119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424675803263293</c:v>
                </c:pt>
                <c:pt idx="3">
                  <c:v>0.975751756596998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325075460249879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9233644134212146</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65257939843373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9103358420490962</c:v>
                </c:pt>
                <c:pt idx="3">
                  <c:v>0.20444002040620599</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79892972142464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008102205866299</c:v>
                </c:pt>
                <c:pt idx="3">
                  <c:v>0.996991700099404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5143399612141967</c:v>
                </c:pt>
                <c:pt idx="3">
                  <c:v>0.157099162183104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2672734024057402</c:v>
                </c:pt>
                <c:pt idx="3">
                  <c:v>0.97732587703119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424675803263293</c:v>
                </c:pt>
                <c:pt idx="3">
                  <c:v>0.975751756596998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65541159968612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5143399612141967</c:v>
                </c:pt>
                <c:pt idx="3">
                  <c:v>0.1570991621831049</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5143399612141967</c:v>
                </c:pt>
                <c:pt idx="3">
                  <c:v>0.157099162183104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5143399612141967</c:v>
                </c:pt>
                <c:pt idx="3">
                  <c:v>0.157099162183104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2672734024057402</c:v>
                </c:pt>
                <c:pt idx="3">
                  <c:v>0.97732587703119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2672734024057402</c:v>
                </c:pt>
                <c:pt idx="3">
                  <c:v>0.97732587703119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008102205866299</c:v>
                </c:pt>
                <c:pt idx="3">
                  <c:v>0.996991700099404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1600306545873434</c:v>
                </c:pt>
                <c:pt idx="3">
                  <c:v>0.996839761665831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219713175577791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505562089403446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5743431969946917</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1810994552510531</c:v>
                </c:pt>
                <c:pt idx="3">
                  <c:v>0.2374553813822643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2673755222764169</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693532988493627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9789311993362903</c:v>
                </c:pt>
                <c:pt idx="3">
                  <c:v>0.1803130871044878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2197131755777912</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008102205866299</c:v>
                </c:pt>
                <c:pt idx="3">
                  <c:v>0.996991700099404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1600306545873434</c:v>
                </c:pt>
                <c:pt idx="3">
                  <c:v>0.9968397616658317</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719046783159294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9789311993362903</c:v>
                </c:pt>
                <c:pt idx="3">
                  <c:v>0.1803130871044878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9789311993362903</c:v>
                </c:pt>
                <c:pt idx="3">
                  <c:v>0.1803130871044878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9789311993362903</c:v>
                </c:pt>
                <c:pt idx="3">
                  <c:v>0.1803130871044878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008102205866299</c:v>
                </c:pt>
                <c:pt idx="3">
                  <c:v>0.996991700099404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008102205866299</c:v>
                </c:pt>
                <c:pt idx="3">
                  <c:v>0.996991700099404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263637062538603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2943089667463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6177068301499467</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535655711996827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423594444776148</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602654517678662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771611223903557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43498394214885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771611223903557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771611223903557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771611223903557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008102205866299</c:v>
                </c:pt>
                <c:pt idx="3">
                  <c:v>0.996991700099404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2672734024057402</c:v>
                </c:pt>
                <c:pt idx="3">
                  <c:v>0.97732587703119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424675803263293</c:v>
                </c:pt>
                <c:pt idx="3">
                  <c:v>0.975751756596998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325075460249879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65257939843373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436342048243052</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9103358420490962</c:v>
                </c:pt>
                <c:pt idx="3">
                  <c:v>0.20444002040620599</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31208744609820954</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79892972142464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5143399612141967</c:v>
                </c:pt>
                <c:pt idx="3">
                  <c:v>0.157099162183104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2672734024057402</c:v>
                </c:pt>
                <c:pt idx="3">
                  <c:v>0.97732587703119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424675803263293</c:v>
                </c:pt>
                <c:pt idx="3">
                  <c:v>0.975751756596998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65541159968612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459422507056094</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5143399612141967</c:v>
                </c:pt>
                <c:pt idx="3">
                  <c:v>0.1570991621831049</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5143399612141967</c:v>
                </c:pt>
                <c:pt idx="3">
                  <c:v>0.1570991621831049</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5143399612141967</c:v>
                </c:pt>
                <c:pt idx="3">
                  <c:v>0.1570991621831049</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2672734024057402</c:v>
                </c:pt>
                <c:pt idx="3">
                  <c:v>0.97732587703119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2672734024057402</c:v>
                </c:pt>
                <c:pt idx="3">
                  <c:v>0.97732587703119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505562089403446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263637062538603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813510240933092</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829430896674636</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20976903868425343</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5356557119968276</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602654517678662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771611223903557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1315934409562559</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43498394214885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771611223903557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771611223903557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1810994552510531</c:v>
                </c:pt>
                <c:pt idx="3">
                  <c:v>0.23745538138226438</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771611223903557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693532988493627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2672734024057402</c:v>
                </c:pt>
                <c:pt idx="3">
                  <c:v>0.9773258770311914</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424675803263293</c:v>
                </c:pt>
                <c:pt idx="3">
                  <c:v>0.9757517565969981</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325075460249879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 Id="rId7" Type="http://schemas.openxmlformats.org/officeDocument/2006/relationships/chart" Target="../charts/chart326.xml"/><Relationship Id="rId8" Type="http://schemas.openxmlformats.org/officeDocument/2006/relationships/chart" Target="../charts/chart327.xml"/><Relationship Id="rId9" Type="http://schemas.openxmlformats.org/officeDocument/2006/relationships/chart" Target="../charts/chart328.xml"/><Relationship Id="rId10" Type="http://schemas.openxmlformats.org/officeDocument/2006/relationships/chart" Target="../charts/chart329.xml"/><Relationship Id="rId11" Type="http://schemas.openxmlformats.org/officeDocument/2006/relationships/chart" Target="../charts/chart330.xml"/><Relationship Id="rId12" Type="http://schemas.openxmlformats.org/officeDocument/2006/relationships/chart" Target="../charts/chart331.xml"/><Relationship Id="rId13" Type="http://schemas.openxmlformats.org/officeDocument/2006/relationships/chart" Target="../charts/chart332.xml"/><Relationship Id="rId14" Type="http://schemas.openxmlformats.org/officeDocument/2006/relationships/chart" Target="../charts/chart333.xml"/><Relationship Id="rId15" Type="http://schemas.openxmlformats.org/officeDocument/2006/relationships/chart" Target="../charts/chart334.xml"/><Relationship Id="rId16" Type="http://schemas.openxmlformats.org/officeDocument/2006/relationships/chart" Target="../charts/chart335.xml"/><Relationship Id="rId17" Type="http://schemas.openxmlformats.org/officeDocument/2006/relationships/chart" Target="../charts/chart33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 Id="rId8" Type="http://schemas.openxmlformats.org/officeDocument/2006/relationships/chart" Target="../charts/chart339.xml"/><Relationship Id="rId9" Type="http://schemas.openxmlformats.org/officeDocument/2006/relationships/chart" Target="../charts/chart340.xml"/><Relationship Id="rId10" Type="http://schemas.openxmlformats.org/officeDocument/2006/relationships/chart" Target="../charts/chart341.xml"/><Relationship Id="rId11" Type="http://schemas.openxmlformats.org/officeDocument/2006/relationships/chart" Target="../charts/chart342.xml"/><Relationship Id="rId12" Type="http://schemas.openxmlformats.org/officeDocument/2006/relationships/chart" Target="../charts/chart343.xml"/><Relationship Id="rId13" Type="http://schemas.openxmlformats.org/officeDocument/2006/relationships/chart" Target="../charts/chart344.xml"/><Relationship Id="rId14" Type="http://schemas.openxmlformats.org/officeDocument/2006/relationships/chart" Target="../charts/chart345.xml"/><Relationship Id="rId15" Type="http://schemas.openxmlformats.org/officeDocument/2006/relationships/chart" Target="../charts/chart346.xml"/><Relationship Id="rId16" Type="http://schemas.openxmlformats.org/officeDocument/2006/relationships/chart" Target="../charts/chart347.xml"/><Relationship Id="rId17" Type="http://schemas.openxmlformats.org/officeDocument/2006/relationships/chart" Target="../charts/chart34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9.xml"/><Relationship Id="rId7" Type="http://schemas.openxmlformats.org/officeDocument/2006/relationships/chart" Target="../charts/chart350.xml"/><Relationship Id="rId8" Type="http://schemas.openxmlformats.org/officeDocument/2006/relationships/chart" Target="../charts/chart351.xml"/><Relationship Id="rId9" Type="http://schemas.openxmlformats.org/officeDocument/2006/relationships/chart" Target="../charts/chart352.xml"/><Relationship Id="rId10" Type="http://schemas.openxmlformats.org/officeDocument/2006/relationships/chart" Target="../charts/chart353.xml"/><Relationship Id="rId11" Type="http://schemas.openxmlformats.org/officeDocument/2006/relationships/chart" Target="../charts/chart354.xml"/><Relationship Id="rId12" Type="http://schemas.openxmlformats.org/officeDocument/2006/relationships/chart" Target="../charts/chart355.xml"/><Relationship Id="rId13" Type="http://schemas.openxmlformats.org/officeDocument/2006/relationships/chart" Target="../charts/chart356.xml"/><Relationship Id="rId14" Type="http://schemas.openxmlformats.org/officeDocument/2006/relationships/chart" Target="../charts/chart357.xml"/><Relationship Id="rId15" Type="http://schemas.openxmlformats.org/officeDocument/2006/relationships/chart" Target="../charts/chart358.xml"/><Relationship Id="rId16" Type="http://schemas.openxmlformats.org/officeDocument/2006/relationships/chart" Target="../charts/chart359.xml"/><Relationship Id="rId17" Type="http://schemas.openxmlformats.org/officeDocument/2006/relationships/chart" Target="../charts/chart36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 Id="rId7" Type="http://schemas.openxmlformats.org/officeDocument/2006/relationships/chart" Target="../charts/chart362.xml"/><Relationship Id="rId8" Type="http://schemas.openxmlformats.org/officeDocument/2006/relationships/chart" Target="../charts/chart363.xml"/><Relationship Id="rId9" Type="http://schemas.openxmlformats.org/officeDocument/2006/relationships/chart" Target="../charts/chart364.xml"/><Relationship Id="rId10" Type="http://schemas.openxmlformats.org/officeDocument/2006/relationships/chart" Target="../charts/chart365.xml"/><Relationship Id="rId11" Type="http://schemas.openxmlformats.org/officeDocument/2006/relationships/chart" Target="../charts/chart366.xml"/><Relationship Id="rId12" Type="http://schemas.openxmlformats.org/officeDocument/2006/relationships/chart" Target="../charts/chart367.xml"/><Relationship Id="rId13" Type="http://schemas.openxmlformats.org/officeDocument/2006/relationships/chart" Target="../charts/chart368.xml"/><Relationship Id="rId14" Type="http://schemas.openxmlformats.org/officeDocument/2006/relationships/chart" Target="../charts/chart369.xml"/><Relationship Id="rId15" Type="http://schemas.openxmlformats.org/officeDocument/2006/relationships/chart" Target="../charts/chart370.xml"/><Relationship Id="rId16" Type="http://schemas.openxmlformats.org/officeDocument/2006/relationships/chart" Target="../charts/chart371.xml"/><Relationship Id="rId17" Type="http://schemas.openxmlformats.org/officeDocument/2006/relationships/chart" Target="../charts/chart37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3.xml"/><Relationship Id="rId7" Type="http://schemas.openxmlformats.org/officeDocument/2006/relationships/chart" Target="../charts/chart374.xml"/><Relationship Id="rId8" Type="http://schemas.openxmlformats.org/officeDocument/2006/relationships/chart" Target="../charts/chart375.xml"/><Relationship Id="rId9" Type="http://schemas.openxmlformats.org/officeDocument/2006/relationships/chart" Target="../charts/chart376.xml"/><Relationship Id="rId10" Type="http://schemas.openxmlformats.org/officeDocument/2006/relationships/chart" Target="../charts/chart377.xml"/><Relationship Id="rId11" Type="http://schemas.openxmlformats.org/officeDocument/2006/relationships/chart" Target="../charts/chart378.xml"/><Relationship Id="rId12" Type="http://schemas.openxmlformats.org/officeDocument/2006/relationships/chart" Target="../charts/chart379.xml"/><Relationship Id="rId13" Type="http://schemas.openxmlformats.org/officeDocument/2006/relationships/chart" Target="../charts/chart380.xml"/><Relationship Id="rId14" Type="http://schemas.openxmlformats.org/officeDocument/2006/relationships/chart" Target="../charts/chart381.xml"/><Relationship Id="rId15" Type="http://schemas.openxmlformats.org/officeDocument/2006/relationships/chart" Target="../charts/chart382.xml"/><Relationship Id="rId16" Type="http://schemas.openxmlformats.org/officeDocument/2006/relationships/chart" Target="../charts/chart383.xml"/><Relationship Id="rId17" Type="http://schemas.openxmlformats.org/officeDocument/2006/relationships/chart" Target="../charts/chart384.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5.xml"/><Relationship Id="rId7" Type="http://schemas.openxmlformats.org/officeDocument/2006/relationships/chart" Target="../charts/chart386.xml"/><Relationship Id="rId8" Type="http://schemas.openxmlformats.org/officeDocument/2006/relationships/chart" Target="../charts/chart387.xml"/><Relationship Id="rId9" Type="http://schemas.openxmlformats.org/officeDocument/2006/relationships/chart" Target="../charts/chart388.xml"/><Relationship Id="rId10" Type="http://schemas.openxmlformats.org/officeDocument/2006/relationships/chart" Target="../charts/chart389.xml"/><Relationship Id="rId11" Type="http://schemas.openxmlformats.org/officeDocument/2006/relationships/chart" Target="../charts/chart390.xml"/><Relationship Id="rId12" Type="http://schemas.openxmlformats.org/officeDocument/2006/relationships/chart" Target="../charts/chart391.xml"/><Relationship Id="rId13" Type="http://schemas.openxmlformats.org/officeDocument/2006/relationships/chart" Target="../charts/chart392.xml"/><Relationship Id="rId14" Type="http://schemas.openxmlformats.org/officeDocument/2006/relationships/chart" Target="../charts/chart393.xml"/><Relationship Id="rId15" Type="http://schemas.openxmlformats.org/officeDocument/2006/relationships/chart" Target="../charts/chart394.xml"/><Relationship Id="rId16" Type="http://schemas.openxmlformats.org/officeDocument/2006/relationships/chart" Target="../charts/chart395.xml"/><Relationship Id="rId17" Type="http://schemas.openxmlformats.org/officeDocument/2006/relationships/chart" Target="../charts/chart396.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7.xml"/><Relationship Id="rId7" Type="http://schemas.openxmlformats.org/officeDocument/2006/relationships/chart" Target="../charts/chart398.xml"/><Relationship Id="rId8" Type="http://schemas.openxmlformats.org/officeDocument/2006/relationships/chart" Target="../charts/chart399.xml"/><Relationship Id="rId9" Type="http://schemas.openxmlformats.org/officeDocument/2006/relationships/chart" Target="../charts/chart400.xml"/><Relationship Id="rId10" Type="http://schemas.openxmlformats.org/officeDocument/2006/relationships/chart" Target="../charts/chart401.xml"/><Relationship Id="rId11" Type="http://schemas.openxmlformats.org/officeDocument/2006/relationships/chart" Target="../charts/chart402.xml"/><Relationship Id="rId12" Type="http://schemas.openxmlformats.org/officeDocument/2006/relationships/chart" Target="../charts/chart403.xml"/><Relationship Id="rId13" Type="http://schemas.openxmlformats.org/officeDocument/2006/relationships/chart" Target="../charts/chart404.xml"/><Relationship Id="rId14" Type="http://schemas.openxmlformats.org/officeDocument/2006/relationships/chart" Target="../charts/chart405.xml"/><Relationship Id="rId15" Type="http://schemas.openxmlformats.org/officeDocument/2006/relationships/chart" Target="../charts/chart406.xml"/><Relationship Id="rId16" Type="http://schemas.openxmlformats.org/officeDocument/2006/relationships/chart" Target="../charts/chart407.xml"/><Relationship Id="rId17" Type="http://schemas.openxmlformats.org/officeDocument/2006/relationships/chart" Target="../charts/chart408.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9.xml"/><Relationship Id="rId7" Type="http://schemas.openxmlformats.org/officeDocument/2006/relationships/chart" Target="../charts/chart410.xml"/><Relationship Id="rId8" Type="http://schemas.openxmlformats.org/officeDocument/2006/relationships/chart" Target="../charts/chart411.xml"/><Relationship Id="rId9" Type="http://schemas.openxmlformats.org/officeDocument/2006/relationships/chart" Target="../charts/chart412.xml"/><Relationship Id="rId10" Type="http://schemas.openxmlformats.org/officeDocument/2006/relationships/chart" Target="../charts/chart413.xml"/><Relationship Id="rId11" Type="http://schemas.openxmlformats.org/officeDocument/2006/relationships/chart" Target="../charts/chart414.xml"/><Relationship Id="rId12" Type="http://schemas.openxmlformats.org/officeDocument/2006/relationships/chart" Target="../charts/chart415.xml"/><Relationship Id="rId13" Type="http://schemas.openxmlformats.org/officeDocument/2006/relationships/chart" Target="../charts/chart416.xml"/><Relationship Id="rId14" Type="http://schemas.openxmlformats.org/officeDocument/2006/relationships/chart" Target="../charts/chart417.xml"/><Relationship Id="rId15" Type="http://schemas.openxmlformats.org/officeDocument/2006/relationships/chart" Target="../charts/chart418.xml"/><Relationship Id="rId16" Type="http://schemas.openxmlformats.org/officeDocument/2006/relationships/chart" Target="../charts/chart419.xml"/><Relationship Id="rId17" Type="http://schemas.openxmlformats.org/officeDocument/2006/relationships/chart" Target="../charts/chart42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1.xml"/><Relationship Id="rId7" Type="http://schemas.openxmlformats.org/officeDocument/2006/relationships/chart" Target="../charts/chart422.xml"/><Relationship Id="rId8" Type="http://schemas.openxmlformats.org/officeDocument/2006/relationships/chart" Target="../charts/chart423.xml"/><Relationship Id="rId9" Type="http://schemas.openxmlformats.org/officeDocument/2006/relationships/chart" Target="../charts/chart424.xml"/><Relationship Id="rId10" Type="http://schemas.openxmlformats.org/officeDocument/2006/relationships/chart" Target="../charts/chart425.xml"/><Relationship Id="rId11" Type="http://schemas.openxmlformats.org/officeDocument/2006/relationships/chart" Target="../charts/chart426.xml"/><Relationship Id="rId12" Type="http://schemas.openxmlformats.org/officeDocument/2006/relationships/chart" Target="../charts/chart427.xml"/><Relationship Id="rId13" Type="http://schemas.openxmlformats.org/officeDocument/2006/relationships/chart" Target="../charts/chart428.xml"/><Relationship Id="rId14" Type="http://schemas.openxmlformats.org/officeDocument/2006/relationships/chart" Target="../charts/chart429.xml"/><Relationship Id="rId15" Type="http://schemas.openxmlformats.org/officeDocument/2006/relationships/chart" Target="../charts/chart430.xml"/><Relationship Id="rId16" Type="http://schemas.openxmlformats.org/officeDocument/2006/relationships/chart" Target="../charts/chart431.xml"/><Relationship Id="rId17" Type="http://schemas.openxmlformats.org/officeDocument/2006/relationships/chart" Target="../charts/chart432.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3751071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031832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0239586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3180829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8803928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325344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5995458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118076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037598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234430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845315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2459605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2801578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78823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5542018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2208314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074828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9062256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7654240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42731086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5660683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6828381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8080734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3250806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391647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1747832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08692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25815114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9262186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131104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17561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3522519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2598808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4845470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483150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3"/>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9324">
                <a:tc>
                  <a:txBody>
                    <a:bodyPr/>
                    <a:lstStyle/>
                    <a:p>
                      <a:pPr algn="ctr">
                        <a:defRPr sz="6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749324">
                <a:tc>
                  <a:txBody>
                    <a:bodyPr/>
                    <a:lstStyle/>
                    <a:p>
                      <a:pPr algn="ctr">
                        <a:defRPr sz="6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749324">
                <a:tc>
                  <a:txBody>
                    <a:bodyPr/>
                    <a:lstStyle/>
                    <a:p>
                      <a:pPr algn="ctr">
                        <a:defRPr sz="6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749324">
                <a:tc>
                  <a:txBody>
                    <a:bodyPr/>
                    <a:lstStyle/>
                    <a:p>
                      <a:pPr algn="ctr">
                        <a:defRPr sz="6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2457418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5004</Words>
  <Application>Microsoft Office PowerPoint</Application>
  <PresentationFormat>On-screen Show (16:9)</PresentationFormat>
  <Paragraphs>1512</Paragraphs>
  <Slides>36</Slides>
  <Notes>3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4T07:15: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